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</p:sldMasterIdLst>
  <p:notesMasterIdLst>
    <p:notesMasterId r:id="rId7"/>
  </p:notesMasterIdLst>
  <p:sldIdLst>
    <p:sldId id="911" r:id="rId3"/>
    <p:sldId id="903" r:id="rId4"/>
    <p:sldId id="497" r:id="rId5"/>
    <p:sldId id="370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D1B1C"/>
    <a:srgbClr val="F9F9FB"/>
    <a:srgbClr val="091717"/>
    <a:srgbClr val="EFF5FB"/>
    <a:srgbClr val="EAEAEA"/>
    <a:srgbClr val="EAE9E9"/>
    <a:srgbClr val="EBE9E9"/>
    <a:srgbClr val="E8E8E8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3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6" y="1296"/>
      </p:cViewPr>
      <p:guideLst>
        <p:guide orient="horz" pos="2137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41EA5-8D81-4E61-B37C-E5F6FBE76A41}" type="datetimeFigureOut">
              <a:rPr lang="nl-NL" smtClean="0"/>
              <a:t>19-04-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BDAF0-FF71-49BA-A02E-FCC33DA3013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3482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41D7B-6747-4444-ABA6-9148318FCA6F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6555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94E86-B79C-4D75-B9D3-F40725AAE3F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860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3781E-BA7D-4E46-96F0-F56A3C6560F6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2297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A12FE-7155-4583-81E2-79504A806A1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32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3"/>
            <a:ext cx="9907272" cy="4003197"/>
          </a:xfrm>
        </p:spPr>
        <p:txBody>
          <a:bodyPr>
            <a:normAutofit/>
          </a:bodyPr>
          <a:lstStyle>
            <a:lvl1pPr marL="612000" indent="-612000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0" y="650009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3A53F70-6EDA-470F-86EB-7A1A4FA43DA0}" type="datetime1">
              <a:rPr lang="nl-NL" smtClean="0">
                <a:solidFill>
                  <a:prstClr val="white"/>
                </a:solidFill>
              </a:rPr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4" y="6500092"/>
            <a:ext cx="4716000" cy="221383"/>
          </a:xfrm>
        </p:spPr>
        <p:txBody>
          <a:bodyPr/>
          <a:lstStyle>
            <a:lvl1pPr marL="0" algn="ctr" defTabSz="914400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8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74" y="-1529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CE0AF-7C6B-44B2-BE48-70B30A68DE8E}" type="datetime1">
              <a:rPr lang="nl-NL" smtClean="0">
                <a:solidFill>
                  <a:srgbClr val="808285"/>
                </a:solidFill>
              </a:rPr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0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2000" r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0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0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8"/>
            <a:ext cx="645361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38"/>
            <a:ext cx="2106612" cy="1354138"/>
            <a:chOff x="-2231300" y="2231625"/>
            <a:chExt cx="2106943" cy="1353870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230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0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0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0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696" y="2322792"/>
            <a:ext cx="1871662" cy="2769989"/>
            <a:chOff x="-2008947" y="2420888"/>
            <a:chExt cx="1871662" cy="2769989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2769989"/>
              <a:chOff x="9231313" y="2327275"/>
              <a:chExt cx="1871662" cy="2769989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769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0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0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0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682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17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agenda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tx2"/>
              </a:buClr>
              <a:buFont typeface="+mj-lt"/>
              <a:buAutoNum type="arabicPeriod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32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75600" y="972000"/>
            <a:ext cx="12121200" cy="58968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13179" y="2353156"/>
            <a:ext cx="9907272" cy="4003197"/>
          </a:xfrm>
        </p:spPr>
        <p:txBody>
          <a:bodyPr>
            <a:normAutofit/>
          </a:bodyPr>
          <a:lstStyle>
            <a:lvl1pPr marL="611891" indent="-611891">
              <a:spcAft>
                <a:spcPts val="768"/>
              </a:spcAft>
              <a:buClr>
                <a:schemeClr val="bg1"/>
              </a:buClr>
              <a:buFont typeface="+mj-lt"/>
              <a:buAutoNum type="arabicPeriod"/>
              <a:defRPr lang="en-US" sz="3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68451" y="6500102"/>
            <a:ext cx="2052000" cy="221383"/>
          </a:xfrm>
        </p:spPr>
        <p:txBody>
          <a:bodyPr/>
          <a:lstStyle>
            <a:lvl1pPr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91D0F-8570-46CB-B33C-300359AAC92A}" type="datetime1">
              <a:rPr lang="nl-NL">
                <a:solidFill>
                  <a:prstClr val="white"/>
                </a:solidFill>
              </a:rPr>
              <a:pPr/>
              <a:t>19-04-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2313" y="6500102"/>
            <a:ext cx="4716000" cy="221383"/>
          </a:xfrm>
        </p:spPr>
        <p:txBody>
          <a:bodyPr/>
          <a:lstStyle>
            <a:lvl1pPr marL="0" algn="ctr" defTabSz="914241" rtl="0" eaLnBrk="1" latinLnBrk="0" hangingPunct="1">
              <a:defRPr lang="da-DK"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5184" y="6500092"/>
            <a:ext cx="504056" cy="22138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prstClr val="white"/>
                </a:solidFill>
              </a:rPr>
              <a:pPr/>
              <a:t>‹nr.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91387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/>
        </p:nvSpPr>
        <p:spPr>
          <a:xfrm>
            <a:off x="191344" y="0"/>
            <a:ext cx="1200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3149B-AF7A-4C31-A1E6-E467BE34ECA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-2008948" y="2492905"/>
            <a:ext cx="1871663" cy="2388601"/>
            <a:chOff x="-2008947" y="2420888"/>
            <a:chExt cx="1871662" cy="2388601"/>
          </a:xfrm>
        </p:grpSpPr>
        <p:grpSp>
          <p:nvGrpSpPr>
            <p:cNvPr id="12" name="Gruppe 1"/>
            <p:cNvGrpSpPr/>
            <p:nvPr userDrawn="1"/>
          </p:nvGrpSpPr>
          <p:grpSpPr>
            <a:xfrm>
              <a:off x="-2008947" y="2420888"/>
              <a:ext cx="1871662" cy="2388601"/>
              <a:chOff x="9231313" y="2327275"/>
              <a:chExt cx="1871662" cy="2388601"/>
            </a:xfrm>
          </p:grpSpPr>
          <p:sp>
            <p:nvSpPr>
              <p:cNvPr id="13" name="TextBox 12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2369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pPr algn="r"/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 algn="r"/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</p:txBody>
          </p:sp>
          <p:grpSp>
            <p:nvGrpSpPr>
              <p:cNvPr id="15" name="Gruppe 1"/>
              <p:cNvGrpSpPr>
                <a:grpSpLocks/>
              </p:cNvGrpSpPr>
              <p:nvPr userDrawn="1"/>
            </p:nvGrpSpPr>
            <p:grpSpPr bwMode="auto">
              <a:xfrm>
                <a:off x="10746863" y="4366081"/>
                <a:ext cx="331789" cy="349795"/>
                <a:chOff x="9828712" y="5849458"/>
                <a:chExt cx="331633" cy="350460"/>
              </a:xfrm>
            </p:grpSpPr>
            <p:pic>
              <p:nvPicPr>
                <p:cNvPr id="17" name="Picture 16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42242" y="5856367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" name="Rounded Rectangle 17"/>
                <p:cNvSpPr/>
                <p:nvPr userDrawn="1"/>
              </p:nvSpPr>
              <p:spPr>
                <a:xfrm>
                  <a:off x="9828712" y="5849458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54236" y="3367625"/>
              <a:ext cx="399068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43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8" y="1504951"/>
            <a:ext cx="1056639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10566400" cy="50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9921875" cy="30718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95DE-A2D9-46A4-B2C3-419086917E3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0" name="Previe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  <p:grpSp>
        <p:nvGrpSpPr>
          <p:cNvPr id="11" name="Group 10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2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196753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9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4576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30495-015D-4DFE-AFC6-CC066761195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6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7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6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7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8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9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8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4300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94FC5-2727-4393-AC2E-072913F51141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928984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7437" y="971999"/>
            <a:ext cx="6029363" cy="58968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FontTx/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71F40-BF41-4E30-BF4C-DBCF44B4E092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ounded Rectangle 20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oup 15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ectangle 17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9" name="Rounded Rectangle 18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2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2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3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4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21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8112224" y="971999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112224" y="2934003"/>
            <a:ext cx="4086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4892400"/>
            <a:ext cx="4086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1504951"/>
            <a:ext cx="7098133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8" y="1989212"/>
            <a:ext cx="7098135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6453611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22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 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569" y="-1521"/>
            <a:ext cx="12189793" cy="68595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6166800" y="971999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C65BD-7B6C-40AA-B9E3-61B94B358E4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166800" y="2934003"/>
            <a:ext cx="6030000" cy="1960772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166800" y="4892400"/>
            <a:ext cx="6030000" cy="1965600"/>
          </a:xfrm>
          <a:solidFill>
            <a:schemeClr val="tx1">
              <a:lumMod val="20000"/>
              <a:lumOff val="80000"/>
            </a:schemeClr>
          </a:solidFill>
        </p:spPr>
        <p:txBody>
          <a:bodyPr lIns="0" tIns="611907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insert pictur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49" y="1504951"/>
            <a:ext cx="5079600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989212"/>
            <a:ext cx="507960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5" y="3284539"/>
            <a:ext cx="4442400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8" name="Group 17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9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20" name="Group 19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5" name="Picture 24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21" name="Group 20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2" name="Picture 21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3" name="Rectangle 22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4" name="Rounded Rectangle 23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892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51" y="972008"/>
            <a:ext cx="5739524" cy="5886001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298577" y="1504954"/>
            <a:ext cx="4443275" cy="1202962"/>
          </a:xfrm>
          <a:blipFill>
            <a:blip r:embed="rId3"/>
            <a:stretch>
              <a:fillRect/>
            </a:stretch>
          </a:blipFill>
        </p:spPr>
        <p:txBody>
          <a:bodyPr bIns="215968">
            <a:sp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6299056" tIns="0" rIns="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</a:t>
            </a:r>
            <a:br>
              <a:rPr lang="en-GB" noProof="0" dirty="0"/>
            </a:br>
            <a:r>
              <a:rPr lang="en-GB" noProof="0" dirty="0"/>
              <a:t>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D6EE5-91D8-4496-8B28-AFF451BBF78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7" name="Group 16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23" name="Picture 2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4" name="Rounded Rectangle 23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9" name="Group 18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20" name="Picture 19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Rectangle 20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2" name="Rounded Rectangle 21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0000" y="1"/>
            <a:ext cx="2287143" cy="1285875"/>
          </a:xfrm>
          <a:prstGeom prst="rect">
            <a:avLst/>
          </a:prstGeom>
        </p:spPr>
      </p:pic>
      <p:grpSp>
        <p:nvGrpSpPr>
          <p:cNvPr id="27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8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0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1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2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3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9" name="Picture 30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02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1" y="2404088"/>
            <a:ext cx="11144851" cy="30411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2" y="2772656"/>
            <a:ext cx="2705645" cy="2304000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979333" y="2772655"/>
            <a:ext cx="6293131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3688389" y="2775740"/>
            <a:ext cx="14400" cy="2304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611907" rIns="0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0DB5D-ED7A-4FCA-9F48-607B9766E806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143" cy="1285875"/>
          </a:xfrm>
          <a:prstGeom prst="rect">
            <a:avLst/>
          </a:prstGeom>
        </p:spPr>
      </p:pic>
      <p:grpSp>
        <p:nvGrpSpPr>
          <p:cNvPr id="19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20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23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24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25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22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9293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pictur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13" name="White box"/>
          <p:cNvSpPr>
            <a:spLocks noGrp="1"/>
          </p:cNvSpPr>
          <p:nvPr>
            <p:ph type="body" sz="quarter" idx="17" hasCustomPrompt="1"/>
          </p:nvPr>
        </p:nvSpPr>
        <p:spPr>
          <a:xfrm>
            <a:off x="654049" y="3794561"/>
            <a:ext cx="11144851" cy="3070800"/>
          </a:xfrm>
          <a:blipFill>
            <a:blip r:embed="rId2"/>
            <a:stretch>
              <a:fillRect/>
            </a:stretch>
          </a:blipFill>
        </p:spPr>
        <p:txBody>
          <a:bodyPr lIns="0"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298576" y="4269819"/>
            <a:ext cx="2705645" cy="2090639"/>
          </a:xfrm>
        </p:spPr>
        <p:txBody>
          <a:bodyPr>
            <a:noAutofit/>
          </a:bodyPr>
          <a:lstStyle>
            <a:lvl1pPr marL="0" indent="0">
              <a:buNone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22809" y="4269809"/>
            <a:ext cx="6271279" cy="2048424"/>
          </a:xfrm>
          <a:noFill/>
        </p:spPr>
        <p:txBody>
          <a:bodyPr wrap="square" lIns="0"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Gray line"/>
          <p:cNvSpPr>
            <a:spLocks noGrp="1"/>
          </p:cNvSpPr>
          <p:nvPr>
            <p:ph type="body" sz="quarter" idx="24" hasCustomPrompt="1"/>
          </p:nvPr>
        </p:nvSpPr>
        <p:spPr>
          <a:xfrm>
            <a:off x="4326943" y="4269811"/>
            <a:ext cx="14400" cy="209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5600" y="971999"/>
            <a:ext cx="12121200" cy="5896800"/>
          </a:xfrm>
          <a:noFill/>
        </p:spPr>
        <p:txBody>
          <a:bodyPr lIns="0" tIns="0" rIns="0" bIns="683902" anchor="ctr" anchorCtr="0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tx1"/>
                </a:solidFill>
              </a:defRPr>
            </a:lvl1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Click on icon to insert picture, remember to </a:t>
            </a:r>
            <a:r>
              <a:rPr lang="en-GB" sz="15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-click on the picture and select Send to back</a:t>
            </a:r>
            <a:r>
              <a:rPr lang="en-GB" noProof="0" dirty="0"/>
              <a:t>  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C737-C459-4647-8958-BB59048C64D8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8000" y="1"/>
            <a:ext cx="2287413" cy="1286027"/>
          </a:xfrm>
          <a:prstGeom prst="rect">
            <a:avLst/>
          </a:prstGeom>
        </p:spPr>
      </p:pic>
      <p:grpSp>
        <p:nvGrpSpPr>
          <p:cNvPr id="34" name="Group 28"/>
          <p:cNvGrpSpPr/>
          <p:nvPr userDrawn="1"/>
        </p:nvGrpSpPr>
        <p:grpSpPr>
          <a:xfrm>
            <a:off x="12360705" y="2322799"/>
            <a:ext cx="1871663" cy="3216265"/>
            <a:chOff x="-2008947" y="2420888"/>
            <a:chExt cx="1871662" cy="3216263"/>
          </a:xfrm>
        </p:grpSpPr>
        <p:grpSp>
          <p:nvGrpSpPr>
            <p:cNvPr id="35" name="Gruppe 1"/>
            <p:cNvGrpSpPr/>
            <p:nvPr userDrawn="1"/>
          </p:nvGrpSpPr>
          <p:grpSpPr>
            <a:xfrm>
              <a:off x="-2008947" y="2420888"/>
              <a:ext cx="1871662" cy="3216263"/>
              <a:chOff x="9231313" y="2327275"/>
              <a:chExt cx="1871662" cy="3216263"/>
            </a:xfrm>
          </p:grpSpPr>
          <p:sp>
            <p:nvSpPr>
              <p:cNvPr id="37" name="TextBox 31"/>
              <p:cNvSpPr txBox="1">
                <a:spLocks noChangeArrowheads="1"/>
              </p:cNvSpPr>
              <p:nvPr userDrawn="1"/>
            </p:nvSpPr>
            <p:spPr bwMode="auto">
              <a:xfrm>
                <a:off x="9231313" y="2327275"/>
                <a:ext cx="1871662" cy="3216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Insert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1.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Click thumbnail image icon in the middle of the placeholder 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2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add the desired picture</a:t>
                </a: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3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Click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Crop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to change 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focus of the image / size</a:t>
                </a:r>
              </a:p>
              <a:p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4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If you want to scale the image hold the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HIFT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 button down while dragging the corners of the image</a:t>
                </a: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endParaRPr lang="en-GB" sz="1100" dirty="0">
                  <a:solidFill>
                    <a:srgbClr val="2C2A29"/>
                  </a:solidFill>
                  <a:cs typeface="Arial" pitchFamily="34" charset="0"/>
                </a:endParaRPr>
              </a:p>
              <a:p>
                <a:pPr>
                  <a:defRPr/>
                </a:pP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5. </a:t>
                </a:r>
                <a:r>
                  <a:rPr lang="en-GB" sz="1100" dirty="0">
                    <a:solidFill>
                      <a:srgbClr val="2C2A29"/>
                    </a:solidFill>
                    <a:cs typeface="Arial" pitchFamily="34" charset="0"/>
                  </a:rPr>
                  <a:t>Right-click on the picture and select </a:t>
                </a:r>
                <a:r>
                  <a:rPr lang="en-GB" sz="1100" b="1" dirty="0">
                    <a:solidFill>
                      <a:srgbClr val="2C2A29"/>
                    </a:solidFill>
                    <a:cs typeface="Arial" pitchFamily="34" charset="0"/>
                  </a:rPr>
                  <a:t>Send to back</a:t>
                </a:r>
              </a:p>
            </p:txBody>
          </p:sp>
          <p:grpSp>
            <p:nvGrpSpPr>
              <p:cNvPr id="38" name="Gruppe 1"/>
              <p:cNvGrpSpPr>
                <a:grpSpLocks/>
              </p:cNvGrpSpPr>
              <p:nvPr userDrawn="1"/>
            </p:nvGrpSpPr>
            <p:grpSpPr bwMode="auto">
              <a:xfrm>
                <a:off x="9254797" y="4356775"/>
                <a:ext cx="331787" cy="342899"/>
                <a:chOff x="8337348" y="5840143"/>
                <a:chExt cx="331631" cy="343551"/>
              </a:xfrm>
            </p:grpSpPr>
            <p:pic>
              <p:nvPicPr>
                <p:cNvPr id="39" name="Picture 33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0876" y="5840143"/>
                  <a:ext cx="318103" cy="3435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0" name="Rounded Rectangle 34"/>
                <p:cNvSpPr/>
                <p:nvPr userDrawn="1"/>
              </p:nvSpPr>
              <p:spPr>
                <a:xfrm>
                  <a:off x="8337348" y="5840145"/>
                  <a:ext cx="209451" cy="171776"/>
                </a:xfrm>
                <a:prstGeom prst="roundRect">
                  <a:avLst/>
                </a:prstGeom>
                <a:noFill/>
                <a:ln w="19050">
                  <a:solidFill>
                    <a:srgbClr val="E31E3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GB" sz="20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  <p:pic>
          <p:nvPicPr>
            <p:cNvPr id="36" name="Picture 30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02556" y="3367604"/>
              <a:ext cx="399069" cy="3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00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3" y="1504951"/>
            <a:ext cx="5080819" cy="468000"/>
          </a:xfrm>
        </p:spPr>
        <p:txBody>
          <a:bodyPr>
            <a:normAutofit/>
          </a:bodyPr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slide messag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051" y="1989212"/>
            <a:ext cx="5080820" cy="504000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98577" y="3284539"/>
            <a:ext cx="4443275" cy="30718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67439" y="972009"/>
            <a:ext cx="5053012" cy="53843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A51CE-F505-41EA-8663-BD227B542C44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2" name="Group 11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3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9" name="Picture 18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5" name="Group 14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6" name="Picture 15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8" name="Rounded Rectangle 17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1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1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-1"/>
            <a:ext cx="12189823" cy="68595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4059" y="1504951"/>
            <a:ext cx="10566399" cy="576000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200" kern="1200" cap="none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Highlighting key element / words in red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54051" y="2880253"/>
            <a:ext cx="10566400" cy="3476099"/>
          </a:xfrm>
        </p:spPr>
        <p:txBody>
          <a:bodyPr>
            <a:normAutofit/>
          </a:bodyPr>
          <a:lstStyle>
            <a:lvl1pPr marL="287947" indent="-287947">
              <a:buClr>
                <a:schemeClr val="accent1"/>
              </a:buClr>
              <a:buFont typeface="Arial" panose="020B0604020202020204" pitchFamily="34" charset="0"/>
              <a:buChar char="•"/>
              <a:defRPr baseline="0"/>
            </a:lvl1pPr>
            <a:lvl2pPr marL="575902" indent="-287947">
              <a:buFont typeface="Arial" panose="020B0604020202020204" pitchFamily="34" charset="0"/>
              <a:buChar char="–"/>
              <a:defRPr/>
            </a:lvl2pPr>
            <a:lvl3pPr marL="611891" indent="-287947">
              <a:spcAft>
                <a:spcPts val="600"/>
              </a:spcAft>
              <a:defRPr lang="en-GB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850" indent="-287947">
              <a:defRPr/>
            </a:lvl4pPr>
            <a:lvl5pPr marL="1079813" indent="-287947">
              <a:defRPr sz="1600"/>
            </a:lvl5pPr>
          </a:lstStyle>
          <a:p>
            <a:pPr lvl="0"/>
            <a:r>
              <a:rPr lang="en-GB" dirty="0"/>
              <a:t>Click to add text, table or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D442-54C2-44B3-900E-8C29E40D060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-2289877" y="3284541"/>
            <a:ext cx="2106612" cy="1523494"/>
            <a:chOff x="-2231300" y="2231625"/>
            <a:chExt cx="2106943" cy="1523188"/>
          </a:xfrm>
        </p:grpSpPr>
        <p:sp>
          <p:nvSpPr>
            <p:cNvPr id="11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356" cy="152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add preformatted bullets,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the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Home</a:t>
              </a: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tab and select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Increase Indent</a:t>
              </a: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endParaRPr lang="en-GB" altLang="da-DK" sz="1100" noProof="1">
                <a:solidFill>
                  <a:srgbClr val="2C2A29"/>
                </a:solidFill>
                <a:latin typeface="Arial" panose="020B0604020202020204"/>
                <a:cs typeface="Arial" charset="0"/>
              </a:endParaRP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Click </a:t>
              </a: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Decrease Indent</a:t>
              </a:r>
            </a:p>
            <a:p>
              <a:pPr algn="r">
                <a:defRPr/>
              </a:pPr>
              <a:r>
                <a:rPr lang="en-GB" altLang="da-DK" sz="1100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to return to the previous list design</a:t>
              </a:r>
            </a:p>
            <a:p>
              <a:pPr algn="r">
                <a:defRPr/>
              </a:pPr>
              <a:r>
                <a:rPr lang="en-GB" altLang="da-DK" sz="1100" b="1" noProof="1">
                  <a:solidFill>
                    <a:srgbClr val="2C2A29"/>
                  </a:solidFill>
                  <a:latin typeface="Arial" panose="020B0604020202020204"/>
                  <a:cs typeface="Arial" charset="0"/>
                </a:rPr>
                <a:t> </a:t>
              </a:r>
            </a:p>
          </p:txBody>
        </p:sp>
        <p:grpSp>
          <p:nvGrpSpPr>
            <p:cNvPr id="12" name="Group 11"/>
            <p:cNvGrpSpPr>
              <a:grpSpLocks/>
            </p:cNvGrpSpPr>
            <p:nvPr userDrawn="1"/>
          </p:nvGrpSpPr>
          <p:grpSpPr bwMode="auto">
            <a:xfrm>
              <a:off x="-544672" y="2731719"/>
              <a:ext cx="419742" cy="242548"/>
              <a:chOff x="-832082" y="3286289"/>
              <a:chExt cx="358924" cy="219989"/>
            </a:xfrm>
          </p:grpSpPr>
          <p:pic>
            <p:nvPicPr>
              <p:cNvPr id="17" name="Picture 16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286289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 bwMode="auto">
              <a:xfrm>
                <a:off x="-653241" y="3287610"/>
                <a:ext cx="169711" cy="21593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  <p:grpSp>
          <p:nvGrpSpPr>
            <p:cNvPr id="13" name="Group 12"/>
            <p:cNvGrpSpPr>
              <a:grpSpLocks/>
            </p:cNvGrpSpPr>
            <p:nvPr userDrawn="1"/>
          </p:nvGrpSpPr>
          <p:grpSpPr bwMode="auto">
            <a:xfrm>
              <a:off x="-531551" y="3339969"/>
              <a:ext cx="407194" cy="245526"/>
              <a:chOff x="-474298" y="3592325"/>
              <a:chExt cx="348194" cy="222690"/>
            </a:xfrm>
          </p:grpSpPr>
          <p:pic>
            <p:nvPicPr>
              <p:cNvPr id="14" name="Picture 1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592325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5" name="Rectangle 14"/>
              <p:cNvSpPr/>
              <p:nvPr userDrawn="1"/>
            </p:nvSpPr>
            <p:spPr bwMode="auto">
              <a:xfrm>
                <a:off x="-297173" y="3594762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16" name="Rounded Rectangle 15"/>
              <p:cNvSpPr/>
              <p:nvPr userDrawn="1"/>
            </p:nvSpPr>
            <p:spPr bwMode="auto">
              <a:xfrm>
                <a:off x="-465528" y="3597641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40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F10B9-E8C5-4220-9572-2C6F9C10A021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1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6CE3C-B761-42CF-86FA-495C803B9E35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4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4C5B3-48EC-44AD-A311-D69CCB98B979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4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9019" y="1676404"/>
            <a:ext cx="11199280" cy="45497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71604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055439" y="6421441"/>
            <a:ext cx="2375268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>
                <a:solidFill>
                  <a:srgbClr val="C7C2BA"/>
                </a:solidFill>
              </a:rPr>
              <a:t>24 June 2014</a:t>
            </a:r>
            <a:endParaRPr dirty="0">
              <a:solidFill>
                <a:srgbClr val="C7C2BA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430709" y="6421441"/>
            <a:ext cx="3992443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dirty="0">
              <a:solidFill>
                <a:srgbClr val="C7C2BA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566457" y="6421441"/>
            <a:ext cx="541867" cy="3825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C2C257-330F-409C-BC18-18554D16EFA6}" type="slidenum">
              <a:rPr lang="en-GB">
                <a:solidFill>
                  <a:srgbClr val="C7C2BA"/>
                </a:solidFill>
              </a:rPr>
              <a:pPr/>
              <a:t>‹nr.›</a:t>
            </a:fld>
            <a:endParaRPr lang="en-GB" dirty="0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5602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87076" cy="685800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298575" y="1628799"/>
            <a:ext cx="10893425" cy="4487916"/>
          </a:xfrm>
          <a:solidFill>
            <a:schemeClr val="tx1">
              <a:lumMod val="20000"/>
              <a:lumOff val="80000"/>
            </a:schemeClr>
          </a:solidFill>
        </p:spPr>
        <p:txBody>
          <a:bodyPr lIns="2699595" tIns="0" rIns="0" anchor="ctr" anchorCtr="0">
            <a:normAutofit/>
          </a:bodyPr>
          <a:lstStyle>
            <a:lvl1pPr marL="0" indent="0" algn="ctr">
              <a:buNone/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on icon to add picture</a:t>
            </a:r>
          </a:p>
        </p:txBody>
      </p:sp>
      <p:sp>
        <p:nvSpPr>
          <p:cNvPr id="10" name="Gray box"/>
          <p:cNvSpPr>
            <a:spLocks noGrp="1"/>
          </p:cNvSpPr>
          <p:nvPr>
            <p:ph type="body" sz="quarter" idx="16" hasCustomPrompt="1"/>
          </p:nvPr>
        </p:nvSpPr>
        <p:spPr>
          <a:xfrm>
            <a:off x="75600" y="2578137"/>
            <a:ext cx="6098400" cy="258816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54060" y="439383"/>
            <a:ext cx="9439433" cy="21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12015" y="2869328"/>
            <a:ext cx="3826800" cy="864000"/>
          </a:xfrm>
          <a:noFill/>
        </p:spPr>
        <p:txBody>
          <a:bodyPr lIns="0" tIns="0" rIns="0">
            <a:noAutofit/>
          </a:bodyPr>
          <a:lstStyle>
            <a:lvl1pPr marL="0" indent="0" algn="l">
              <a:spcAft>
                <a:spcPts val="0"/>
              </a:spcAft>
              <a:buNone/>
              <a:defRPr sz="1900">
                <a:solidFill>
                  <a:schemeClr val="tx2"/>
                </a:solidFill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GB" dirty="0"/>
              <a:t>A presentation for: Click to add nam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712015" y="3746538"/>
            <a:ext cx="3826800" cy="819375"/>
          </a:xfrm>
        </p:spPr>
        <p:txBody>
          <a:bodyPr anchor="b" anchorCtr="0"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meeting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712015" y="4617523"/>
            <a:ext cx="3826800" cy="407044"/>
          </a:xfrm>
        </p:spPr>
        <p:txBody>
          <a:bodyPr>
            <a:no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BE580-DB9D-4F67-8B11-2FF04398693C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pic>
        <p:nvPicPr>
          <p:cNvPr id="16" name="Previe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7998" y="9885"/>
            <a:ext cx="1943100" cy="109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86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CBBAC-3E82-4329-AD57-5F5421B1D542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19-04-1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666E3-8817-4F6D-84CF-FEFBEEF18CEC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89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6AD7E-E0E1-4053-ADD2-94FC7562D71A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6027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A8A03-540A-4982-8BAD-819FE85262BB}" type="datetime1">
              <a:rPr lang="nl-NL" smtClean="0"/>
              <a:t>19-04-19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989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C6BC-43CE-42A3-85C5-771B7F4CD4E7}" type="datetime1">
              <a:rPr lang="nl-NL" smtClean="0"/>
              <a:t>19-04-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732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3EF3A-00A6-40C1-9701-754F18A6858C}" type="datetime1">
              <a:rPr lang="nl-NL" smtClean="0"/>
              <a:t>19-04-19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9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EB89-2A3A-40C3-9C36-F4881D3E47D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877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EB182-B990-4126-A3D4-1F15EFF531BB}" type="datetime1">
              <a:rPr lang="nl-NL" smtClean="0"/>
              <a:t>19-04-19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en MEP productie i.s.m. EAGR en GroundBreaking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46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41EA1-C323-4154-8D89-7EBAC74374F2}" type="datetime1">
              <a:rPr lang="nl-NL" smtClean="0"/>
              <a:t>19-04-19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Een MEP productie i.s.m. EAGR en GroundBreak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3AB04-D976-4D0A-AAF5-6A494EF66B3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61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34" r:id="rId12"/>
    <p:sldLayoutId id="2147483738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ray line"/>
          <p:cNvCxnSpPr/>
          <p:nvPr/>
        </p:nvCxnSpPr>
        <p:spPr>
          <a:xfrm>
            <a:off x="0" y="966509"/>
            <a:ext cx="12192000" cy="0"/>
          </a:xfrm>
          <a:prstGeom prst="line">
            <a:avLst/>
          </a:prstGeom>
          <a:ln w="12700">
            <a:solidFill>
              <a:srgbClr val="BCB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060" y="439383"/>
            <a:ext cx="9439433" cy="2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add section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9353" y="3284539"/>
            <a:ext cx="9911099" cy="30548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451" y="6500102"/>
            <a:ext cx="2052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GB" sz="1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E671F69-0F33-4019-8C50-CCF23F7BDFC9}" type="datetime1">
              <a:rPr lang="nl-NL">
                <a:solidFill>
                  <a:srgbClr val="808285"/>
                </a:solidFill>
              </a:rPr>
              <a:pPr/>
              <a:t>19-04-19</a:t>
            </a:fld>
            <a:endParaRPr dirty="0">
              <a:solidFill>
                <a:srgbClr val="80828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42313" y="6500102"/>
            <a:ext cx="4716000" cy="2213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GB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80828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5184" y="6500092"/>
            <a:ext cx="504056" cy="2213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CB425281-793C-44B6-9FB4-1EB1BF188BFD}" type="slidenum">
              <a:rPr lang="en-GB" smtClean="0">
                <a:solidFill>
                  <a:srgbClr val="808285"/>
                </a:solidFill>
              </a:rPr>
              <a:pPr/>
              <a:t>‹nr.›</a:t>
            </a:fld>
            <a:endParaRPr lang="en-GB" dirty="0">
              <a:solidFill>
                <a:srgbClr val="808285"/>
              </a:solidFill>
            </a:endParaRPr>
          </a:p>
        </p:txBody>
      </p:sp>
      <p:sp>
        <p:nvSpPr>
          <p:cNvPr id="7" name="Red box"/>
          <p:cNvSpPr/>
          <p:nvPr/>
        </p:nvSpPr>
        <p:spPr>
          <a:xfrm>
            <a:off x="0" y="0"/>
            <a:ext cx="684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13" name="TOYOTA Logo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733" y="207126"/>
            <a:ext cx="1358851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3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 ftr="0" dt="0"/>
  <p:txStyles>
    <p:titleStyle>
      <a:lvl1pPr algn="l" defTabSz="914241" rtl="0" eaLnBrk="1" latinLnBrk="0" hangingPunct="1">
        <a:lnSpc>
          <a:spcPct val="90000"/>
        </a:lnSpc>
        <a:spcBef>
          <a:spcPct val="0"/>
        </a:spcBef>
        <a:buNone/>
        <a:defRPr sz="15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947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575902" indent="-287947" algn="l" defTabSz="91424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 2" panose="05020102010507070707" pitchFamily="18" charset="2"/>
        <a:buChar char=""/>
        <a:defRPr lang="en-GB" sz="2000" b="0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8638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4pPr>
      <a:lvl5pPr marL="1151802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 2" panose="05020102010507070707" pitchFamily="18" charset="2"/>
        <a:buChar char=""/>
        <a:defRPr sz="1900" kern="1200">
          <a:solidFill>
            <a:schemeClr val="tx2"/>
          </a:solidFill>
          <a:latin typeface="+mn-lt"/>
          <a:ea typeface="+mn-ea"/>
          <a:cs typeface="+mn-cs"/>
        </a:defRPr>
      </a:lvl5pPr>
      <a:lvl6pPr marL="143974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727695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2015650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US" sz="19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303598" indent="-287947" algn="l" defTabSz="914241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lang="en-GB" sz="1900" kern="120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068">
          <p15:clr>
            <a:srgbClr val="F26B43"/>
          </p15:clr>
        </p15:guide>
        <p15:guide id="4" pos="818">
          <p15:clr>
            <a:srgbClr val="F26B43"/>
          </p15:clr>
        </p15:guide>
        <p15:guide id="5" pos="412">
          <p15:clr>
            <a:srgbClr val="F26B43"/>
          </p15:clr>
        </p15:guide>
        <p15:guide id="7" orient="horz" pos="275">
          <p15:clr>
            <a:srgbClr val="F26B43"/>
          </p15:clr>
        </p15:guide>
        <p15:guide id="8" orient="horz" pos="4004">
          <p15:clr>
            <a:srgbClr val="F26B43"/>
          </p15:clr>
        </p15:guide>
        <p15:guide id="9" orient="horz" pos="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3.jpeg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jpeg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72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9A121568-DF1F-4045-B01E-AF3ADD2DE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85994"/>
            <a:ext cx="12489084" cy="4003197"/>
          </a:xfrm>
        </p:spPr>
        <p:txBody>
          <a:bodyPr/>
          <a:lstStyle/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endParaRPr lang="nl-NL" dirty="0"/>
          </a:p>
          <a:p>
            <a:pPr marL="0" indent="0" algn="ctr">
              <a:buNone/>
            </a:pPr>
            <a:r>
              <a:rPr lang="nl-NL" b="1" dirty="0"/>
              <a:t>Dilemma waterstof in logistiek.</a:t>
            </a:r>
          </a:p>
        </p:txBody>
      </p:sp>
    </p:spTree>
    <p:extLst>
      <p:ext uri="{BB962C8B-B14F-4D97-AF65-F5344CB8AC3E}">
        <p14:creationId xmlns:p14="http://schemas.microsoft.com/office/powerpoint/2010/main" val="3867764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/>
          <p:cNvSpPr/>
          <p:nvPr/>
        </p:nvSpPr>
        <p:spPr>
          <a:xfrm>
            <a:off x="1847528" y="793875"/>
            <a:ext cx="8568952" cy="5112568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9315" y="1820260"/>
            <a:ext cx="919761" cy="721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vak 5"/>
          <p:cNvSpPr txBox="1"/>
          <p:nvPr/>
        </p:nvSpPr>
        <p:spPr>
          <a:xfrm>
            <a:off x="9121332" y="1149593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on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1566276" y="5310344"/>
            <a:ext cx="2588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ctuur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9216347" y="520644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slag</a:t>
            </a:r>
          </a:p>
        </p:txBody>
      </p:sp>
      <p:sp>
        <p:nvSpPr>
          <p:cNvPr id="10" name="Tekstvak 9"/>
          <p:cNvSpPr txBox="1"/>
          <p:nvPr/>
        </p:nvSpPr>
        <p:spPr>
          <a:xfrm>
            <a:off x="1612510" y="116593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bruik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296" y="1091436"/>
            <a:ext cx="919761" cy="690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60" y="497889"/>
            <a:ext cx="999309" cy="77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9" y="5595065"/>
            <a:ext cx="1096111" cy="77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4930132"/>
            <a:ext cx="1171576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754" y="433835"/>
            <a:ext cx="1499289" cy="1153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3954784"/>
            <a:ext cx="1309688" cy="871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Koorde 6"/>
          <p:cNvSpPr/>
          <p:nvPr/>
        </p:nvSpPr>
        <p:spPr>
          <a:xfrm>
            <a:off x="4435763" y="2450060"/>
            <a:ext cx="30283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Koorde 25"/>
          <p:cNvSpPr/>
          <p:nvPr/>
        </p:nvSpPr>
        <p:spPr>
          <a:xfrm rot="10800000">
            <a:off x="4295803" y="2450059"/>
            <a:ext cx="3507891" cy="1787309"/>
          </a:xfrm>
          <a:prstGeom prst="chord">
            <a:avLst>
              <a:gd name="adj1" fmla="val 5465986"/>
              <a:gd name="adj2" fmla="val 162000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3" y="2810099"/>
            <a:ext cx="1368151" cy="879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kstvak 29"/>
          <p:cNvSpPr txBox="1"/>
          <p:nvPr/>
        </p:nvSpPr>
        <p:spPr>
          <a:xfrm>
            <a:off x="6023992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tenschap</a:t>
            </a:r>
          </a:p>
        </p:txBody>
      </p:sp>
      <p:sp>
        <p:nvSpPr>
          <p:cNvPr id="31" name="Tekstvak 30"/>
          <p:cNvSpPr txBox="1"/>
          <p:nvPr/>
        </p:nvSpPr>
        <p:spPr>
          <a:xfrm>
            <a:off x="4367808" y="3674195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heid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787" y="2804079"/>
            <a:ext cx="1553781" cy="87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92" y="937893"/>
            <a:ext cx="1070477" cy="1104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801987"/>
            <a:ext cx="952456" cy="112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717" y="4346672"/>
            <a:ext cx="1157939" cy="767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131" y="5114355"/>
            <a:ext cx="1147023" cy="640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37" y="768460"/>
            <a:ext cx="1031751" cy="75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5436102"/>
            <a:ext cx="1284363" cy="6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C468BA6-301C-4659-838F-7E4471AB7B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808978" y="2588351"/>
            <a:ext cx="1140196" cy="677848"/>
          </a:xfrm>
          <a:prstGeom prst="rect">
            <a:avLst/>
          </a:prstGeom>
        </p:spPr>
      </p:pic>
      <p:sp>
        <p:nvSpPr>
          <p:cNvPr id="13" name="Ovaal 12">
            <a:extLst>
              <a:ext uri="{FF2B5EF4-FFF2-40B4-BE49-F238E27FC236}">
                <a16:creationId xmlns:a16="http://schemas.microsoft.com/office/drawing/2014/main" id="{A85F9276-AF90-7A49-A5F6-79BF9819AB0F}"/>
              </a:ext>
            </a:extLst>
          </p:cNvPr>
          <p:cNvSpPr/>
          <p:nvPr/>
        </p:nvSpPr>
        <p:spPr>
          <a:xfrm>
            <a:off x="9106793" y="1524552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Ovaal 31">
            <a:extLst>
              <a:ext uri="{FF2B5EF4-FFF2-40B4-BE49-F238E27FC236}">
                <a16:creationId xmlns:a16="http://schemas.microsoft.com/office/drawing/2014/main" id="{9621B473-7D33-7040-B48C-5B216749D522}"/>
              </a:ext>
            </a:extLst>
          </p:cNvPr>
          <p:cNvSpPr/>
          <p:nvPr/>
        </p:nvSpPr>
        <p:spPr>
          <a:xfrm>
            <a:off x="7142468" y="5139521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Ovaal 32">
            <a:extLst>
              <a:ext uri="{FF2B5EF4-FFF2-40B4-BE49-F238E27FC236}">
                <a16:creationId xmlns:a16="http://schemas.microsoft.com/office/drawing/2014/main" id="{FB612291-C68F-4C1D-B30C-5AC1ACBA606E}"/>
              </a:ext>
            </a:extLst>
          </p:cNvPr>
          <p:cNvSpPr/>
          <p:nvPr/>
        </p:nvSpPr>
        <p:spPr>
          <a:xfrm>
            <a:off x="4154509" y="5292094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Ovaal 33">
            <a:extLst>
              <a:ext uri="{FF2B5EF4-FFF2-40B4-BE49-F238E27FC236}">
                <a16:creationId xmlns:a16="http://schemas.microsoft.com/office/drawing/2014/main" id="{81A88700-3DB9-416A-97A5-21FACB8EBE01}"/>
              </a:ext>
            </a:extLst>
          </p:cNvPr>
          <p:cNvSpPr/>
          <p:nvPr/>
        </p:nvSpPr>
        <p:spPr>
          <a:xfrm>
            <a:off x="2666952" y="882444"/>
            <a:ext cx="1565218" cy="127952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1914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2" grpId="0" animBg="1"/>
      <p:bldP spid="33" grpId="0" animBg="1"/>
      <p:bldP spid="3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 descr="Afbeelding met vogel, dier, kip, hoendervogel&#10;&#10;Automatisch gegenereerde beschrijving">
            <a:extLst>
              <a:ext uri="{FF2B5EF4-FFF2-40B4-BE49-F238E27FC236}">
                <a16:creationId xmlns:a16="http://schemas.microsoft.com/office/drawing/2014/main" id="{6300BE52-F701-4BEA-91C1-8AB53B6DA6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3145183" y="1580322"/>
            <a:ext cx="5901634" cy="331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814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CBAD526-FA67-4F2D-8B9E-A18F937F5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4050" y="1474205"/>
            <a:ext cx="7098135" cy="504000"/>
          </a:xfrm>
        </p:spPr>
        <p:txBody>
          <a:bodyPr>
            <a:normAutofit lnSpcReduction="10000"/>
          </a:bodyPr>
          <a:lstStyle/>
          <a:p>
            <a:r>
              <a:rPr lang="nl-NL" dirty="0"/>
              <a:t>Dilemma waterstof logistiek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9BD0512-1F86-434A-BC5F-4B5ED5A8B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50" y="3820512"/>
            <a:ext cx="10684510" cy="2535838"/>
          </a:xfrm>
        </p:spPr>
        <p:txBody>
          <a:bodyPr>
            <a:normAutofit/>
          </a:bodyPr>
          <a:lstStyle/>
          <a:p>
            <a:r>
              <a:rPr lang="nl-NL" dirty="0"/>
              <a:t>Hoe verantwoord je een eigen tankstation als je het maar een paar keer per dag 3 minuten gebruikt?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E7CA0C75-F838-4771-B52F-71C5747D8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665" y="253840"/>
            <a:ext cx="5810193" cy="278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048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Blank">
  <a:themeElements>
    <a:clrScheme name="TOYOTA">
      <a:dk1>
        <a:srgbClr val="808285"/>
      </a:dk1>
      <a:lt1>
        <a:sysClr val="window" lastClr="FFFFFF"/>
      </a:lt1>
      <a:dk2>
        <a:srgbClr val="2C2A29"/>
      </a:dk2>
      <a:lt2>
        <a:srgbClr val="F37934"/>
      </a:lt2>
      <a:accent1>
        <a:srgbClr val="C8102E"/>
      </a:accent1>
      <a:accent2>
        <a:srgbClr val="808285"/>
      </a:accent2>
      <a:accent3>
        <a:srgbClr val="426BBA"/>
      </a:accent3>
      <a:accent4>
        <a:srgbClr val="62C751"/>
      </a:accent4>
      <a:accent5>
        <a:srgbClr val="FAC51C"/>
      </a:accent5>
      <a:accent6>
        <a:srgbClr val="A38F8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8000" indent="-288000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YOTA PowerPoint Template.potx" id="{D5C932C4-C28F-4A18-B124-1CFF9D26AF7C}" vid="{15895572-C49F-4D92-83D6-1782D5766C7F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1</TotalTime>
  <Words>34</Words>
  <Application>Microsoft Macintosh PowerPoint</Application>
  <PresentationFormat>Breedbeeld</PresentationFormat>
  <Paragraphs>12</Paragraphs>
  <Slides>4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HelveticaNeueLT Std Lt Cn</vt:lpstr>
      <vt:lpstr>Wingdings 2</vt:lpstr>
      <vt:lpstr>Office Theme</vt:lpstr>
      <vt:lpstr>6_Blank</vt:lpstr>
      <vt:lpstr>think-cell Slid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llem Stehouwer</dc:creator>
  <cp:lastModifiedBy>Maud Stehouwer</cp:lastModifiedBy>
  <cp:revision>68</cp:revision>
  <dcterms:created xsi:type="dcterms:W3CDTF">2019-02-24T15:05:00Z</dcterms:created>
  <dcterms:modified xsi:type="dcterms:W3CDTF">2019-04-19T10:46:56Z</dcterms:modified>
</cp:coreProperties>
</file>